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5" r:id="rId5"/>
    <p:sldMasterId id="2147483756" r:id="rId6"/>
  </p:sldMasterIdLst>
  <p:notesMasterIdLst>
    <p:notesMasterId r:id="rId14"/>
  </p:notesMasterIdLst>
  <p:sldIdLst>
    <p:sldId id="257" r:id="rId7"/>
    <p:sldId id="423" r:id="rId8"/>
    <p:sldId id="424" r:id="rId9"/>
    <p:sldId id="425" r:id="rId10"/>
    <p:sldId id="426" r:id="rId11"/>
    <p:sldId id="427" r:id="rId12"/>
    <p:sldId id="428" r:id="rId13"/>
  </p:sldIdLst>
  <p:sldSz cx="9144000" cy="6858000" type="screen4x3"/>
  <p:notesSz cx="6797675" cy="9928225"/>
  <p:custDataLst>
    <p:tags r:id="rId1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748" userDrawn="1">
          <p15:clr>
            <a:srgbClr val="A4A3A4"/>
          </p15:clr>
        </p15:guide>
        <p15:guide id="3" pos="133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E8E8E9"/>
    <a:srgbClr val="FC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23" autoAdjust="0"/>
    <p:restoredTop sz="90909" autoAdjust="0"/>
  </p:normalViewPr>
  <p:slideViewPr>
    <p:cSldViewPr>
      <p:cViewPr>
        <p:scale>
          <a:sx n="52" d="100"/>
          <a:sy n="52" d="100"/>
        </p:scale>
        <p:origin x="-918" y="-66"/>
      </p:cViewPr>
      <p:guideLst>
        <p:guide orient="horz" pos="2160"/>
        <p:guide pos="748"/>
        <p:guide pos="133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2" d="100"/>
          <a:sy n="82" d="100"/>
        </p:scale>
        <p:origin x="-3180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6614C5-8FBD-4D18-AC5D-5EBE73CDD4C8}" type="datetimeFigureOut">
              <a:rPr lang="ru-RU" smtClean="0"/>
              <a:t>31.08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3311FE-8EE9-4725-93D5-904616A333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4510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251520" y="252000"/>
            <a:ext cx="432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January 00, 2000, City</a:t>
            </a:r>
            <a:br>
              <a:rPr lang="en-US" dirty="0" smtClean="0"/>
            </a:br>
            <a:r>
              <a:rPr lang="en-US" dirty="0" smtClean="0"/>
              <a:t>Name Surname</a:t>
            </a:r>
            <a:br>
              <a:rPr lang="en-US" dirty="0" smtClean="0"/>
            </a:br>
            <a:r>
              <a:rPr lang="en-US" dirty="0" smtClean="0"/>
              <a:t>Speaker’s title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TITLE GOES HERE </a:t>
            </a:r>
            <a:br>
              <a:rPr lang="en-US" dirty="0" smtClean="0"/>
            </a:br>
            <a:r>
              <a:rPr lang="en-US" dirty="0" smtClean="0"/>
              <a:t>IN TAHOMA</a:t>
            </a:r>
            <a:br>
              <a:rPr lang="en-US" dirty="0" smtClean="0"/>
            </a:br>
            <a:r>
              <a:rPr lang="en-US" dirty="0" smtClean="0"/>
              <a:t>(LIGHT+BOLD)</a:t>
            </a:r>
          </a:p>
        </p:txBody>
      </p:sp>
      <p:pic>
        <p:nvPicPr>
          <p:cNvPr id="102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245077"/>
            <a:ext cx="2448272" cy="58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26385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288000"/>
            <a:ext cx="7416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00" baseline="0">
                <a:latin typeface="+mn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2 PT LIGHT + BOLD FOR THE TAIL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388000" y="6264000"/>
            <a:ext cx="432048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0725" y="6191250"/>
            <a:ext cx="16652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6370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251520" y="252000"/>
            <a:ext cx="432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January 00, 2000, City</a:t>
            </a:r>
            <a:br>
              <a:rPr lang="en-US" dirty="0" smtClean="0"/>
            </a:br>
            <a:r>
              <a:rPr lang="en-US" dirty="0" smtClean="0"/>
              <a:t>Name Surname</a:t>
            </a:r>
            <a:br>
              <a:rPr lang="en-US" dirty="0" smtClean="0"/>
            </a:br>
            <a:r>
              <a:rPr lang="en-US" dirty="0" smtClean="0"/>
              <a:t>Speaker’s title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TITLE GOES HERE </a:t>
            </a:r>
            <a:br>
              <a:rPr lang="en-US" dirty="0" smtClean="0"/>
            </a:br>
            <a:r>
              <a:rPr lang="en-US" dirty="0" smtClean="0"/>
              <a:t>IN TAHOMA</a:t>
            </a:r>
            <a:br>
              <a:rPr lang="en-US" dirty="0" smtClean="0"/>
            </a:br>
            <a:r>
              <a:rPr lang="en-US" dirty="0" smtClean="0"/>
              <a:t>(LIGHT+BOLD)</a:t>
            </a:r>
          </a:p>
        </p:txBody>
      </p:sp>
      <p:pic>
        <p:nvPicPr>
          <p:cNvPr id="102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245077"/>
            <a:ext cx="2448272" cy="58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80166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office.micex.com\Public\Files\Департамент_по_коммуникациям\Отдел_управления_брендом\Фирменный_стиль\Шаблон_презентаций\Шаблоны с выбором фото\высотка1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3" r="185"/>
          <a:stretch/>
        </p:blipFill>
        <p:spPr bwMode="auto">
          <a:xfrm>
            <a:off x="251520" y="252000"/>
            <a:ext cx="432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January 00, 2000, City</a:t>
            </a:r>
            <a:br>
              <a:rPr lang="en-US" dirty="0" smtClean="0"/>
            </a:br>
            <a:r>
              <a:rPr lang="en-US" dirty="0" smtClean="0"/>
              <a:t>Name Surname</a:t>
            </a:r>
            <a:br>
              <a:rPr lang="en-US" dirty="0" smtClean="0"/>
            </a:br>
            <a:r>
              <a:rPr lang="en-US" dirty="0" smtClean="0"/>
              <a:t>Speaker’s title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TITLE GOES HERE </a:t>
            </a:r>
            <a:br>
              <a:rPr lang="en-US" dirty="0" smtClean="0"/>
            </a:br>
            <a:r>
              <a:rPr lang="en-US" dirty="0" smtClean="0"/>
              <a:t>IN TAHOMA</a:t>
            </a:r>
            <a:br>
              <a:rPr lang="en-US" dirty="0" smtClean="0"/>
            </a:br>
            <a:r>
              <a:rPr lang="en-US" dirty="0" smtClean="0"/>
              <a:t>(LIGHT+BOLD)</a:t>
            </a:r>
          </a:p>
        </p:txBody>
      </p:sp>
      <p:pic>
        <p:nvPicPr>
          <p:cNvPr id="9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245077"/>
            <a:ext cx="2448272" cy="58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7103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80000" y="612000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1.0</a:t>
            </a:r>
            <a:br>
              <a:rPr lang="en-US" dirty="0" smtClean="0"/>
            </a:br>
            <a:r>
              <a:rPr lang="en-US" dirty="0" err="1" smtClean="0"/>
              <a:t>Devider</a:t>
            </a:r>
            <a:r>
              <a:rPr lang="en-US" dirty="0" smtClean="0"/>
              <a:t> title (</a:t>
            </a:r>
            <a:r>
              <a:rPr lang="en-US" dirty="0" err="1" smtClean="0"/>
              <a:t>light+bold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5"/>
            <a:ext cx="21600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32025" y="6191250"/>
            <a:ext cx="16652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431857" y="6265887"/>
            <a:ext cx="432048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417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152000" y="1196752"/>
            <a:ext cx="7416000" cy="4538048"/>
          </a:xfrm>
          <a:prstGeom prst="rect">
            <a:avLst/>
          </a:prstGeom>
        </p:spPr>
        <p:txBody>
          <a:bodyPr vert="horz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200" baseline="0">
                <a:latin typeface="+mn-lt"/>
                <a:ea typeface="Verdana" pitchFamily="34" charset="0"/>
                <a:cs typeface="Verdana" pitchFamily="34" charset="0"/>
              </a:defRPr>
            </a:lvl1pPr>
            <a:lvl2pPr defTabSz="1976438">
              <a:defRPr sz="1200">
                <a:latin typeface="+mn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 dirty="0" smtClean="0"/>
              <a:t>Bullet point one</a:t>
            </a:r>
          </a:p>
          <a:p>
            <a:pPr lvl="1"/>
            <a:r>
              <a:rPr lang="en-US" dirty="0" smtClean="0"/>
              <a:t>Sub point one</a:t>
            </a:r>
          </a:p>
          <a:p>
            <a:pPr lvl="1"/>
            <a:r>
              <a:rPr lang="en-US" dirty="0" smtClean="0"/>
              <a:t>Sub point two</a:t>
            </a:r>
          </a:p>
          <a:p>
            <a:pPr lvl="0"/>
            <a:r>
              <a:rPr lang="en-US" dirty="0" smtClean="0"/>
              <a:t>Bullet point two</a:t>
            </a:r>
          </a:p>
          <a:p>
            <a:pPr lvl="1"/>
            <a:r>
              <a:rPr lang="en-US" dirty="0" smtClean="0"/>
              <a:t>Sub point one</a:t>
            </a:r>
          </a:p>
          <a:p>
            <a:pPr lvl="1"/>
            <a:r>
              <a:rPr lang="en-US" dirty="0" smtClean="0"/>
              <a:t>Sub point two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288000"/>
            <a:ext cx="7416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2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SLIDE TITLE GOES HERE: TAHOMA 22 PT LIGHT + BOLD FOR THE TAIL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0725" y="6191250"/>
            <a:ext cx="16652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2344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6854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288000"/>
            <a:ext cx="7992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SLIDE TITLE GOES HERE: TAHOMA 22 PT LIGHT + BOLD FOR THE TAIL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431857" y="6265887"/>
            <a:ext cx="432048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0725" y="6191250"/>
            <a:ext cx="16652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9671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 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/>
          <p:cNvSpPr txBox="1">
            <a:spLocks/>
          </p:cNvSpPr>
          <p:nvPr/>
        </p:nvSpPr>
        <p:spPr>
          <a:xfrm>
            <a:off x="360363" y="539750"/>
            <a:ext cx="7199312" cy="1439863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en-US" sz="4800" dirty="0" smtClean="0">
                <a:solidFill>
                  <a:srgbClr val="000000"/>
                </a:solidFill>
                <a:latin typeface="Verdana" pitchFamily="34" charset="0"/>
              </a:rPr>
              <a:t>THANK</a:t>
            </a:r>
            <a:endParaRPr lang="ru-RU" sz="48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eaLnBrk="1" hangingPunct="1">
              <a:lnSpc>
                <a:spcPct val="90000"/>
              </a:lnSpc>
              <a:buFont typeface="Arial" charset="0"/>
              <a:buNone/>
              <a:defRPr/>
            </a:pPr>
            <a:r>
              <a:rPr lang="en-US" sz="4800" b="1" dirty="0" smtClean="0">
                <a:solidFill>
                  <a:srgbClr val="000000"/>
                </a:solidFill>
                <a:latin typeface="Verdana" pitchFamily="34" charset="0"/>
              </a:rPr>
              <a:t>YOU</a:t>
            </a:r>
            <a:endParaRPr lang="ru-RU" sz="4800" b="1" dirty="0" smtClean="0">
              <a:solidFill>
                <a:srgbClr val="000000"/>
              </a:solidFill>
              <a:latin typeface="Verdana" pitchFamily="34" charset="0"/>
            </a:endParaRPr>
          </a:p>
        </p:txBody>
      </p:sp>
      <p:pic>
        <p:nvPicPr>
          <p:cNvPr id="3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588" y="5688013"/>
            <a:ext cx="22701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4540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917576" y="269876"/>
            <a:ext cx="8046913" cy="62075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="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9876" y="269877"/>
            <a:ext cx="647700" cy="63182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163" tIns="51581" rIns="103163" bIns="51581"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0725" y="6191253"/>
            <a:ext cx="16652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385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288000"/>
            <a:ext cx="7740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00" baseline="0">
                <a:latin typeface="+mn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0 ПТ ОБЫЧНЫЙ, ПОЛУЖИРНЫЙ</a:t>
            </a:r>
            <a:endParaRPr lang="ru-RU" dirty="0"/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5" y="6191250"/>
            <a:ext cx="166528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460000" y="6264000"/>
            <a:ext cx="434015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2341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0725" y="6191250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917575" y="269875"/>
            <a:ext cx="8046913" cy="62075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="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SLIDE TITLE GOES HERE: TAHOMA 26 PT LIGHT + BOLD FOR THE TAIL!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917574" y="1197152"/>
            <a:ext cx="8046913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</a:t>
            </a:r>
          </a:p>
        </p:txBody>
      </p:sp>
    </p:spTree>
    <p:extLst>
      <p:ext uri="{BB962C8B-B14F-4D97-AF65-F5344CB8AC3E}">
        <p14:creationId xmlns:p14="http://schemas.microsoft.com/office/powerpoint/2010/main" val="2250115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office.micex.com\Public\Files\Департамент_по_коммуникациям\Отдел_управления_брендом\Фирменный_стиль\Шаблон_презентаций\Шаблоны с выбором фото\высотка1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3" r="185"/>
          <a:stretch/>
        </p:blipFill>
        <p:spPr bwMode="auto">
          <a:xfrm>
            <a:off x="251520" y="252000"/>
            <a:ext cx="432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January 00, 2000, City</a:t>
            </a:r>
            <a:br>
              <a:rPr lang="en-US" dirty="0" smtClean="0"/>
            </a:br>
            <a:r>
              <a:rPr lang="en-US" dirty="0" smtClean="0"/>
              <a:t>Name Surname</a:t>
            </a:r>
            <a:br>
              <a:rPr lang="en-US" dirty="0" smtClean="0"/>
            </a:br>
            <a:r>
              <a:rPr lang="en-US" dirty="0" smtClean="0"/>
              <a:t>Speaker’s title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TITLE GOES HERE </a:t>
            </a:r>
            <a:br>
              <a:rPr lang="en-US" dirty="0" smtClean="0"/>
            </a:br>
            <a:r>
              <a:rPr lang="en-US" dirty="0" smtClean="0"/>
              <a:t>IN TAHOMA</a:t>
            </a:r>
            <a:br>
              <a:rPr lang="en-US" dirty="0" smtClean="0"/>
            </a:br>
            <a:r>
              <a:rPr lang="en-US" dirty="0" smtClean="0"/>
              <a:t>(LIGHT+BOLD)</a:t>
            </a:r>
          </a:p>
        </p:txBody>
      </p:sp>
      <p:pic>
        <p:nvPicPr>
          <p:cNvPr id="9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245077"/>
            <a:ext cx="2448272" cy="58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06640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7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269880" y="269875"/>
            <a:ext cx="6477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0725" y="6191262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288000"/>
            <a:ext cx="7884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</a:t>
            </a:r>
            <a:r>
              <a:rPr lang="en-US" dirty="0" smtClean="0"/>
              <a:t>2</a:t>
            </a:r>
            <a:r>
              <a:rPr lang="ru-RU" dirty="0" smtClean="0"/>
              <a:t> ПТ ОБЫЧНЫЙ, ОКОНЧАНИЕ − ПОЛУЖИРНЫЙ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660000" y="6264012"/>
            <a:ext cx="2133600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21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80000" y="612000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1.0</a:t>
            </a:r>
            <a:br>
              <a:rPr lang="en-US" dirty="0" smtClean="0"/>
            </a:br>
            <a:r>
              <a:rPr lang="en-US" dirty="0" err="1" smtClean="0"/>
              <a:t>Devider</a:t>
            </a:r>
            <a:r>
              <a:rPr lang="en-US" dirty="0" smtClean="0"/>
              <a:t> title (</a:t>
            </a:r>
            <a:r>
              <a:rPr lang="en-US" dirty="0" err="1" smtClean="0"/>
              <a:t>light+bold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5"/>
            <a:ext cx="21600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32025" y="6191250"/>
            <a:ext cx="16652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431857" y="6265887"/>
            <a:ext cx="432048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434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152000" y="1196752"/>
            <a:ext cx="7416000" cy="4538048"/>
          </a:xfrm>
          <a:prstGeom prst="rect">
            <a:avLst/>
          </a:prstGeom>
        </p:spPr>
        <p:txBody>
          <a:bodyPr vert="horz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200" baseline="0">
                <a:latin typeface="+mn-lt"/>
                <a:ea typeface="Verdana" pitchFamily="34" charset="0"/>
                <a:cs typeface="Verdana" pitchFamily="34" charset="0"/>
              </a:defRPr>
            </a:lvl1pPr>
            <a:lvl2pPr defTabSz="1976438">
              <a:defRPr sz="1200">
                <a:latin typeface="+mn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 dirty="0" smtClean="0"/>
              <a:t>Bullet point one</a:t>
            </a:r>
          </a:p>
          <a:p>
            <a:pPr lvl="1"/>
            <a:r>
              <a:rPr lang="en-US" dirty="0" smtClean="0"/>
              <a:t>Sub point one</a:t>
            </a:r>
          </a:p>
          <a:p>
            <a:pPr lvl="1"/>
            <a:r>
              <a:rPr lang="en-US" dirty="0" smtClean="0"/>
              <a:t>Sub point two</a:t>
            </a:r>
          </a:p>
          <a:p>
            <a:pPr lvl="0"/>
            <a:r>
              <a:rPr lang="en-US" dirty="0" smtClean="0"/>
              <a:t>Bullet point two</a:t>
            </a:r>
          </a:p>
          <a:p>
            <a:pPr lvl="1"/>
            <a:r>
              <a:rPr lang="en-US" dirty="0" smtClean="0"/>
              <a:t>Sub point one</a:t>
            </a:r>
          </a:p>
          <a:p>
            <a:pPr lvl="1"/>
            <a:r>
              <a:rPr lang="en-US" dirty="0" smtClean="0"/>
              <a:t>Sub point two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288000"/>
            <a:ext cx="7416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2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SLIDE TITLE GOES HERE: TAHOMA 22 PT LIGHT + BOLD FOR THE TAIL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5" y="6191250"/>
            <a:ext cx="16652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08484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067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288000"/>
            <a:ext cx="7992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SLIDE TITLE GOES HERE: TAHOMA 22 PT LIGHT + BOLD FOR THE TAIL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431857" y="6265887"/>
            <a:ext cx="432048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0725" y="6191250"/>
            <a:ext cx="16652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03055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 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/>
          <p:cNvSpPr txBox="1">
            <a:spLocks/>
          </p:cNvSpPr>
          <p:nvPr/>
        </p:nvSpPr>
        <p:spPr>
          <a:xfrm>
            <a:off x="360363" y="539750"/>
            <a:ext cx="7199312" cy="1439863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en-US" sz="4800" dirty="0" smtClean="0">
                <a:solidFill>
                  <a:srgbClr val="000000"/>
                </a:solidFill>
                <a:latin typeface="Verdana" pitchFamily="34" charset="0"/>
              </a:rPr>
              <a:t>THANK</a:t>
            </a:r>
            <a:endParaRPr lang="ru-RU" sz="48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eaLnBrk="1" hangingPunct="1">
              <a:lnSpc>
                <a:spcPct val="90000"/>
              </a:lnSpc>
              <a:buFont typeface="Arial" charset="0"/>
              <a:buNone/>
              <a:defRPr/>
            </a:pPr>
            <a:r>
              <a:rPr lang="en-US" sz="4800" b="1" dirty="0" smtClean="0">
                <a:solidFill>
                  <a:srgbClr val="000000"/>
                </a:solidFill>
                <a:latin typeface="Verdana" pitchFamily="34" charset="0"/>
              </a:rPr>
              <a:t>YOU</a:t>
            </a:r>
            <a:endParaRPr lang="ru-RU" sz="4800" b="1" dirty="0" smtClean="0">
              <a:solidFill>
                <a:srgbClr val="000000"/>
              </a:solidFill>
              <a:latin typeface="Verdana" pitchFamily="34" charset="0"/>
            </a:endParaRPr>
          </a:p>
        </p:txBody>
      </p:sp>
      <p:pic>
        <p:nvPicPr>
          <p:cNvPr id="3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588" y="5688013"/>
            <a:ext cx="22701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18406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269875"/>
            <a:ext cx="7416000" cy="6388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18</a:t>
            </a:r>
            <a:r>
              <a:rPr lang="ru-RU" dirty="0" smtClean="0"/>
              <a:t> ПТ ОБЫЧНЫЙ, ОКОНЧАНИЕ − ПОЛУЖИРНЫЙ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5" y="6191250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61630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917576" y="269876"/>
            <a:ext cx="8046913" cy="62075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="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9876" y="269877"/>
            <a:ext cx="647700" cy="63182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163" tIns="51581" rIns="103163" bIns="51581"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5" y="6191253"/>
            <a:ext cx="16652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791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7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269880" y="269875"/>
            <a:ext cx="6477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5" y="6191280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288000"/>
            <a:ext cx="7812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</a:t>
            </a:r>
            <a:r>
              <a:rPr lang="en-US" dirty="0" smtClean="0"/>
              <a:t>2</a:t>
            </a:r>
            <a:r>
              <a:rPr lang="ru-RU" dirty="0" smtClean="0"/>
              <a:t> ПТ ОБЫЧНЫЙ, ОКОНЧАНИЕ − ПОЛУЖИРНЫЙ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660000" y="6264030"/>
            <a:ext cx="2133600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009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27826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3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50728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507288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32440" y="6356350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406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80202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5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50728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507288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32440" y="6356350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640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4"/>
          <p:cNvSpPr txBox="1">
            <a:spLocks/>
          </p:cNvSpPr>
          <p:nvPr/>
        </p:nvSpPr>
        <p:spPr>
          <a:xfrm>
            <a:off x="4572000" y="1052736"/>
            <a:ext cx="4464496" cy="54006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600" kern="1200" baseline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Role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rporate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rcretary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ru-RU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reating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responsible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ulture</a:t>
            </a:r>
            <a:endParaRPr lang="en-US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OLDEN JUBILEE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YEAR NATIONAL CONVENTION OF COMPANY SECRETARIES </a:t>
            </a:r>
          </a:p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AND INTERNATIONAL CONFERENCE, </a:t>
            </a:r>
            <a:r>
              <a:rPr lang="en-US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icsi</a:t>
            </a:r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31</a:t>
            </a:r>
            <a:r>
              <a:rPr lang="en-US" sz="24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AUGUST 2018</a:t>
            </a:r>
          </a:p>
          <a:p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AYFAIR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CONVENTION</a:t>
            </a:r>
          </a:p>
          <a:p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peaker: Alexander Kamenskiy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1075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1152000" y="188640"/>
            <a:ext cx="7992000" cy="936104"/>
          </a:xfrm>
        </p:spPr>
        <p:txBody>
          <a:bodyPr/>
          <a:lstStyle/>
          <a:p>
            <a:pPr fontAlgn="base"/>
            <a:r>
              <a:rPr lang="en-US" sz="28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</a:t>
            </a:r>
            <a:r>
              <a:rPr lang="en-US" sz="28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ibility </a:t>
            </a:r>
            <a:br>
              <a:rPr lang="en-US" sz="28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ng </a:t>
            </a:r>
            <a:r>
              <a:rPr lang="en-US" sz="28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 through responsible business</a:t>
            </a:r>
            <a:br>
              <a:rPr lang="en-US" sz="28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800" b="1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2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59632" y="1340768"/>
            <a:ext cx="7600032" cy="2088232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Doing the right </a:t>
            </a: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hing.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 It means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laying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part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in responsible business issues that are central to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the business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- from the quality of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services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ngagement of the company with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communities and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its environmental footprint</a:t>
            </a:r>
            <a:endParaRPr lang="en-US" sz="28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259632" y="3717032"/>
            <a:ext cx="7600032" cy="2232120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Being a catalyst for </a:t>
            </a: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hange.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It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is about using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voice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nd relationships to work with others and influence activities that make a difference, create change and have a lasting impact on the world around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u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0311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1152000" y="188640"/>
            <a:ext cx="7992000" cy="936104"/>
          </a:xfrm>
        </p:spPr>
        <p:txBody>
          <a:bodyPr/>
          <a:lstStyle/>
          <a:p>
            <a:pPr fontAlgn="base"/>
            <a:r>
              <a:rPr lang="en-US" sz="28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</a:t>
            </a:r>
            <a:r>
              <a:rPr lang="en-US" sz="28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ibility </a:t>
            </a:r>
            <a:br>
              <a:rPr lang="en-US" sz="28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elements and instruments</a:t>
            </a:r>
            <a:r>
              <a:rPr lang="en-US" sz="28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800" b="1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3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59632" y="1340768"/>
            <a:ext cx="7600032" cy="1224136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Code of Conduct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– the way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the company does busines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259632" y="2924944"/>
            <a:ext cx="7600032" cy="1368152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Transparent way of doing business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: client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and employees selection and interaction process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client feedback, transparency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repor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259632" y="4653136"/>
            <a:ext cx="7600032" cy="1440160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romoting responsible leadership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: memberships in professional associations, provision of thought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leadership, education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6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1152000" y="188640"/>
            <a:ext cx="7992000" cy="936104"/>
          </a:xfrm>
        </p:spPr>
        <p:txBody>
          <a:bodyPr/>
          <a:lstStyle/>
          <a:p>
            <a:pPr fontAlgn="base"/>
            <a:r>
              <a:rPr lang="en-US" sz="28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</a:t>
            </a:r>
            <a:r>
              <a:rPr lang="en-US" sz="28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ibility </a:t>
            </a:r>
            <a:br>
              <a:rPr lang="en-US" sz="28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requisites for the company</a:t>
            </a:r>
            <a:br>
              <a:rPr lang="en-US" sz="28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800" b="1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4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59632" y="1340768"/>
            <a:ext cx="7600032" cy="792088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ission, vision and value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59632" y="2204864"/>
            <a:ext cx="7600032" cy="792088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rategy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59632" y="3068960"/>
            <a:ext cx="7600032" cy="792088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eople and Workplace Cultur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259632" y="3933056"/>
            <a:ext cx="7600032" cy="792088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Environmental Stewardship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259632" y="4861731"/>
            <a:ext cx="7600032" cy="792088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Community Engagement</a:t>
            </a:r>
          </a:p>
        </p:txBody>
      </p:sp>
    </p:spTree>
    <p:extLst>
      <p:ext uri="{BB962C8B-B14F-4D97-AF65-F5344CB8AC3E}">
        <p14:creationId xmlns:p14="http://schemas.microsoft.com/office/powerpoint/2010/main" val="3953778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1152000" y="188640"/>
            <a:ext cx="7992000" cy="936104"/>
          </a:xfrm>
        </p:spPr>
        <p:txBody>
          <a:bodyPr/>
          <a:lstStyle/>
          <a:p>
            <a:pPr fontAlgn="base"/>
            <a:r>
              <a:rPr lang="en-US" sz="28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</a:t>
            </a:r>
            <a:r>
              <a:rPr lang="en-US" sz="28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ibility </a:t>
            </a:r>
            <a:br>
              <a:rPr lang="en-US" sz="28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secretary tools</a:t>
            </a:r>
            <a:r>
              <a:rPr lang="en-US" sz="28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800" b="1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5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59632" y="1340768"/>
            <a:ext cx="7600032" cy="792088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de of conduct, policies and regulation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59632" y="2204864"/>
            <a:ext cx="7600032" cy="792088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ight set of management bodie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59632" y="3068960"/>
            <a:ext cx="7600032" cy="792088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roper discussion </a:t>
            </a: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f appropriate item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259632" y="3933056"/>
            <a:ext cx="7600032" cy="792088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ollow up measures and control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259632" y="4797152"/>
            <a:ext cx="7600032" cy="792088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ransparent reporting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6213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1152000" y="188640"/>
            <a:ext cx="7992000" cy="936104"/>
          </a:xfrm>
        </p:spPr>
        <p:txBody>
          <a:bodyPr/>
          <a:lstStyle/>
          <a:p>
            <a:pPr fontAlgn="base"/>
            <a:r>
              <a:rPr lang="en-US" sz="28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</a:t>
            </a:r>
            <a:r>
              <a:rPr lang="en-US" sz="28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ibility </a:t>
            </a:r>
            <a:br>
              <a:rPr lang="en-US" sz="28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cow Exchange example</a:t>
            </a:r>
            <a:r>
              <a:rPr lang="en-US" sz="28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800" b="1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6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59632" y="1052736"/>
            <a:ext cx="7600032" cy="576064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de of Business Ethics, 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Charity Policy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259632" y="2348880"/>
            <a:ext cx="7600032" cy="576064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ducational Programs Support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59632" y="2996952"/>
            <a:ext cx="7600032" cy="504056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Aid for Childre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259632" y="3573016"/>
            <a:ext cx="7600032" cy="576064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Aid for the Terminally Ill and Their Famili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259632" y="4221088"/>
            <a:ext cx="7600032" cy="604639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Rehabilitation after Strok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259632" y="4912593"/>
            <a:ext cx="7600032" cy="604639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Corporate Volunteer Program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259632" y="5632673"/>
            <a:ext cx="7600032" cy="604639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ransparent reporting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259632" y="1700808"/>
            <a:ext cx="7600032" cy="576064"/>
          </a:xfrm>
          <a:prstGeom prst="rect">
            <a:avLst/>
          </a:prstGeom>
          <a:solidFill>
            <a:srgbClr val="FCF6F6"/>
          </a:solidFill>
          <a:ln>
            <a:solidFill>
              <a:srgbClr val="C00000"/>
            </a:solidFill>
          </a:ln>
        </p:spPr>
        <p:txBody>
          <a:bodyPr wrap="square" rtlCol="0" anchor="ctr">
            <a:noAutofit/>
          </a:bodyPr>
          <a:lstStyle/>
          <a:p>
            <a:pPr fontAlgn="base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pecial Infrastructure for SME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1081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1152000" y="2564904"/>
            <a:ext cx="6876384" cy="936104"/>
          </a:xfrm>
        </p:spPr>
        <p:txBody>
          <a:bodyPr/>
          <a:lstStyle/>
          <a:p>
            <a:pPr fontAlgn="base"/>
            <a:r>
              <a:rPr lang="en-US" sz="54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  <a:br>
              <a:rPr lang="en-US" sz="54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5400" b="1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7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587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1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3.43900000000000005684E+00&quot;&gt;&lt;m_msothmcolidx val=&quot;0&quot;/&gt;&lt;m_rgb r=&quot;CE&quot; g=&quot;11&quot; b=&quot;26&quot;/&gt;&lt;m_nBrightness tagver0=&quot;26206&quot; tagname0=&quot;m_nBrightnessUNRECOGNIZED&quot; val=&quot;0&quot;/&gt;&lt;/elem&gt;&lt;elem m_fUsage=&quot;2.41811559900000050405E+00&quot;&gt;&lt;m_msothmcolidx val=&quot;0&quot;/&gt;&lt;m_rgb r=&quot;CF&quot; g=&quot;7F&quot; b=&quot;7F&quot;/&gt;&lt;m_nBrightness tagver0=&quot;26206&quot; tagname0=&quot;m_nBrightnessUNRECOGNIZED&quot; val=&quot;0&quot;/&gt;&lt;/elem&gt;&lt;elem m_fUsage=&quot;1.00477844009999994768E+00&quot;&gt;&lt;m_msothmcolidx val=&quot;0&quot;/&gt;&lt;m_rgb r=&quot;C8&quot; g=&quot;10&quot; b=&quot;2E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Презентация_eng_adapt">
  <a:themeElements>
    <a:clrScheme name="Корпоративный красный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C8102E"/>
      </a:accent1>
      <a:accent2>
        <a:srgbClr val="CF7F7F"/>
      </a:accent2>
      <a:accent3>
        <a:srgbClr val="616365"/>
      </a:accent3>
      <a:accent4>
        <a:srgbClr val="51626F"/>
      </a:accent4>
      <a:accent5>
        <a:srgbClr val="6D6F64"/>
      </a:accent5>
      <a:accent6>
        <a:srgbClr val="5D4F4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Презентация_eng_adapt">
  <a:themeElements>
    <a:clrScheme name="Корпоративный красный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C8102E"/>
      </a:accent1>
      <a:accent2>
        <a:srgbClr val="CF7F7F"/>
      </a:accent2>
      <a:accent3>
        <a:srgbClr val="616365"/>
      </a:accent3>
      <a:accent4>
        <a:srgbClr val="51626F"/>
      </a:accent4>
      <a:accent5>
        <a:srgbClr val="6D6F64"/>
      </a:accent5>
      <a:accent6>
        <a:srgbClr val="5D4F4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46AE59D714A33448C879F6EED7C13EF" ma:contentTypeVersion="0" ma:contentTypeDescription="Создание документа." ma:contentTypeScope="" ma:versionID="51d16541a83fe4bdd53d9c73fa891021">
  <xsd:schema xmlns:xsd="http://www.w3.org/2001/XMLSchema" xmlns:xs="http://www.w3.org/2001/XMLSchema" xmlns:p="http://schemas.microsoft.com/office/2006/metadata/properties" xmlns:ns2="5c2cd6fe-a789-4745-9d50-c055d8f1627e" targetNamespace="http://schemas.microsoft.com/office/2006/metadata/properties" ma:root="true" ma:fieldsID="eb6df43a550ff08c15757511108e667f" ns2:_="">
    <xsd:import namespace="5c2cd6fe-a789-4745-9d50-c055d8f1627e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2cd6fe-a789-4745-9d50-c055d8f1627e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584B195-81B0-47BA-BC5D-3E16C3C467C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3EB4AFDF-F11F-4D91-A0FC-EA21EA236BF9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elements/1.1/"/>
    <ds:schemaRef ds:uri="http://purl.org/dc/terms/"/>
    <ds:schemaRef ds:uri="http://schemas.microsoft.com/office/infopath/2007/PartnerControls"/>
    <ds:schemaRef ds:uri="5c2cd6fe-a789-4745-9d50-c055d8f1627e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C9DB280-BF0D-4545-A0BB-185B304ADE38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9CF180B-8C5A-4A8E-AECD-54572D91BD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c2cd6fe-a789-4745-9d50-c055d8f162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15</TotalTime>
  <Words>242</Words>
  <Application>Microsoft Office PowerPoint</Application>
  <PresentationFormat>On-screen Show (4:3)</PresentationFormat>
  <Paragraphs>44</Paragraphs>
  <Slides>7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0" baseType="lpstr">
      <vt:lpstr>Презентация_eng_adapt</vt:lpstr>
      <vt:lpstr>1_Презентация_eng_adapt</vt:lpstr>
      <vt:lpstr>think-cell Slide</vt:lpstr>
      <vt:lpstr>PowerPoint Presentation</vt:lpstr>
      <vt:lpstr>Corporate Responsibility  Creating value through responsible business </vt:lpstr>
      <vt:lpstr>Corporate Responsibility  Core elements and instruments </vt:lpstr>
      <vt:lpstr>Corporate Responsibility  Pre-requisites for the company </vt:lpstr>
      <vt:lpstr>Corporate Responsibility  Corporate secretary tools </vt:lpstr>
      <vt:lpstr>Corporate Responsibility  Moscow Exchange example </vt:lpstr>
      <vt:lpstr>Thank you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агорнюк Оксана Константиновна</dc:creator>
  <cp:lastModifiedBy>LAPTOP02</cp:lastModifiedBy>
  <cp:revision>487</cp:revision>
  <cp:lastPrinted>2017-07-07T08:38:12Z</cp:lastPrinted>
  <dcterms:created xsi:type="dcterms:W3CDTF">2013-06-06T12:57:21Z</dcterms:created>
  <dcterms:modified xsi:type="dcterms:W3CDTF">2018-08-31T09:0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6AE59D714A33448C879F6EED7C13EF</vt:lpwstr>
  </property>
</Properties>
</file>